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0"/>
  </p:notesMasterIdLst>
  <p:sldIdLst>
    <p:sldId id="257" r:id="rId6"/>
    <p:sldId id="260" r:id="rId7"/>
    <p:sldId id="261" r:id="rId8"/>
    <p:sldId id="262" r:id="rId9"/>
  </p:sldIdLst>
  <p:sldSz cx="9906000" cy="6858000" type="A4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C1DE"/>
    <a:srgbClr val="177B57"/>
    <a:srgbClr val="C5E4BA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 snapToObjects="1" showGuides="1">
      <p:cViewPr>
        <p:scale>
          <a:sx n="64" d="100"/>
          <a:sy n="64" d="100"/>
        </p:scale>
        <p:origin x="1272" y="21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8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64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5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cs-CZ" noProof="0" dirty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for</a:t>
            </a:r>
            <a:r>
              <a:rPr lang="cs-CZ" dirty="0" smtClean="0"/>
              <a:t> </a:t>
            </a:r>
            <a:r>
              <a:rPr lang="cs-CZ" dirty="0" err="1" smtClean="0"/>
              <a:t>client</a:t>
            </a:r>
            <a:r>
              <a:rPr lang="cs-CZ" dirty="0" smtClean="0"/>
              <a:t> logo</a:t>
            </a:r>
            <a:endParaRPr lang="cs-CZ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4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cs-CZ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cs-CZ" sz="2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endParaRPr lang="cs-CZ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1099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Staffr concept v1 slides 1-2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DraftStamp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577200" y="6601968"/>
            <a:ext cx="1968488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C41300"/>
                </a:solidFill>
              </a:rPr>
              <a:t>Draft—for discussion only</a:t>
            </a:r>
            <a:endParaRPr lang="en-US" sz="1200" b="1" dirty="0">
              <a:solidFill>
                <a:srgbClr val="C413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pyright © 2017 by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Boston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nsulting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Group, Inc.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All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ights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eserved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cs-CZ" sz="700" dirty="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slideLayout" Target="../slideLayouts/slideLayout2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91" Type="http://schemas.openxmlformats.org/officeDocument/2006/relationships/tags" Target="../tags/tag97.xml"/><Relationship Id="rId96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oleObject" Target="../embeddings/oleObject4.bin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P0	3.7.</a:t>
            </a:r>
          </a:p>
          <a:p>
            <a:r>
              <a:rPr lang="en-US" dirty="0" smtClean="0"/>
              <a:t>CP1</a:t>
            </a:r>
            <a:r>
              <a:rPr lang="en-US" smtClean="0"/>
              <a:t>	31.</a:t>
            </a:r>
            <a:r>
              <a:rPr lang="cs-CZ" smtClean="0"/>
              <a:t>8</a:t>
            </a:r>
            <a:r>
              <a:rPr lang="en-US" smtClean="0"/>
              <a:t>.</a:t>
            </a:r>
            <a:endParaRPr lang="en-US" dirty="0" smtClean="0"/>
          </a:p>
          <a:p>
            <a:r>
              <a:rPr lang="en-US" smtClean="0"/>
              <a:t>CP2</a:t>
            </a:r>
            <a:r>
              <a:rPr lang="cs-CZ" smtClean="0"/>
              <a:t>	31.9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Mtgs. 1.7., 16.7., 28.7.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325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58788" y="389096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58788" y="2728913"/>
            <a:ext cx="1338263" cy="533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58788" y="326231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58788" y="4519613"/>
            <a:ext cx="1338263" cy="812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58788" y="2100264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556000" y="2100262"/>
            <a:ext cx="306388" cy="3232150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3173413" y="2100263"/>
            <a:ext cx="382588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4244975" y="2100263"/>
            <a:ext cx="1454150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7227888" y="2100262"/>
            <a:ext cx="460375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97050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200" b="0">
                <a:sym typeface="+mn-lt"/>
              </a:rPr>
              <a:pPr/>
              <a:t>Jul</a:t>
            </a:fld>
            <a:endParaRPr lang="en-US" sz="1200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68775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200" b="0">
                <a:sym typeface="+mn-lt"/>
              </a:rPr>
              <a:pPr/>
              <a:t>Aug</a:t>
            </a:fld>
            <a:endParaRPr lang="en-US" sz="1200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40500" y="1600200"/>
            <a:ext cx="22939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200" b="0">
                <a:sym typeface="+mn-lt"/>
              </a:rPr>
              <a:pPr/>
              <a:t>Sep</a:t>
            </a:fld>
            <a:endParaRPr lang="en-US" sz="1200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34438" y="1600200"/>
            <a:ext cx="61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200" b="0">
                <a:sym typeface="+mn-lt"/>
              </a:rPr>
              <a:pPr/>
              <a:t>Oct</a:t>
            </a:fld>
            <a:endParaRPr lang="en-US" sz="1200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97050" y="1865313"/>
            <a:ext cx="152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1000" b="0">
                <a:sym typeface="+mn-lt"/>
              </a:rPr>
              <a:pPr/>
              <a:t>26</a:t>
            </a:fld>
            <a:endParaRPr lang="en-US" sz="1000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494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1000" b="0">
                <a:sym typeface="+mn-lt"/>
              </a:rPr>
              <a:pPr/>
              <a:t>27</a:t>
            </a:fld>
            <a:endParaRPr lang="en-US" sz="1000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860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1000" b="0">
                <a:sym typeface="+mn-lt"/>
              </a:rPr>
              <a:pPr/>
              <a:t>28</a:t>
            </a:fld>
            <a:endParaRPr lang="en-US" sz="1000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10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1000" b="0">
                <a:sym typeface="+mn-lt"/>
              </a:rPr>
              <a:pPr/>
              <a:t>29</a:t>
            </a:fld>
            <a:endParaRPr lang="en-US" sz="1000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560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1000" b="0">
                <a:sym typeface="+mn-lt"/>
              </a:rPr>
              <a:pPr/>
              <a:t>30</a:t>
            </a:fld>
            <a:endParaRPr lang="en-US" sz="1000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925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1000" b="0">
                <a:sym typeface="+mn-lt"/>
              </a:rPr>
              <a:pPr/>
              <a:t>31</a:t>
            </a:fld>
            <a:endParaRPr lang="en-US" sz="1000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275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1000" b="0">
                <a:sym typeface="+mn-lt"/>
              </a:rPr>
              <a:pPr/>
              <a:t>32</a:t>
            </a:fld>
            <a:endParaRPr lang="en-US" sz="1000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625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1000" b="0">
                <a:sym typeface="+mn-lt"/>
              </a:rPr>
              <a:pPr/>
              <a:t>33</a:t>
            </a:fld>
            <a:endParaRPr lang="en-US" sz="1000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991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1000" b="0">
                <a:sym typeface="+mn-lt"/>
              </a:rPr>
              <a:pPr/>
              <a:t>34</a:t>
            </a:fld>
            <a:endParaRPr lang="en-US" sz="1000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341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1000" b="0">
                <a:sym typeface="+mn-lt"/>
              </a:rPr>
              <a:pPr/>
              <a:t>35</a:t>
            </a:fld>
            <a:endParaRPr lang="en-US" sz="1000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691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1000" b="0">
                <a:sym typeface="+mn-lt"/>
              </a:rPr>
              <a:pPr/>
              <a:t>36</a:t>
            </a:fld>
            <a:endParaRPr lang="en-US" sz="1000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3056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1000" b="0">
                <a:sym typeface="+mn-lt"/>
              </a:rPr>
              <a:pPr/>
              <a:t>37</a:t>
            </a:fld>
            <a:endParaRPr lang="en-US" sz="1000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8406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1000" b="0">
                <a:sym typeface="+mn-lt"/>
              </a:rPr>
              <a:pPr/>
              <a:t>38</a:t>
            </a:fld>
            <a:endParaRPr lang="en-US" sz="1000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3756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1000" b="0">
                <a:sym typeface="+mn-lt"/>
              </a:rPr>
              <a:pPr/>
              <a:t>39</a:t>
            </a:fld>
            <a:endParaRPr lang="en-US" sz="1000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122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1000" b="0">
                <a:sym typeface="+mn-lt"/>
              </a:rPr>
              <a:pPr/>
              <a:t>40</a:t>
            </a:fld>
            <a:endParaRPr lang="en-US" sz="1000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834438" y="1865313"/>
            <a:ext cx="61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4168775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797050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540500" y="1865313"/>
            <a:ext cx="22939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4168775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540500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797050" y="2100262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8147050" y="3467100"/>
            <a:ext cx="6873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556000" y="2933700"/>
            <a:ext cx="4591050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806575" y="2933700"/>
            <a:ext cx="1749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944813" y="3467100"/>
            <a:ext cx="520223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806575" y="2400300"/>
            <a:ext cx="205581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51625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62341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7691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5560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30210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4860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9122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73056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40925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8406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83756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6275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58788" y="3890963"/>
            <a:ext cx="898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834438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9494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699125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81470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58788" y="2100263"/>
            <a:ext cx="89884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309938" y="5230813"/>
            <a:ext cx="107950" cy="3825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654425" y="5851525"/>
            <a:ext cx="107950" cy="3063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602038" y="605948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865688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257550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918075" y="4695825"/>
            <a:ext cx="107950" cy="145415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69143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761413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930900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80740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789363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626100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87178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724025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8764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692275" y="4343400"/>
            <a:ext cx="20955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1000" b="0"/>
              <a:pPr/>
              <a:t>1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007350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1000" b="0"/>
              <a:pPr/>
              <a:t>22.9.</a:t>
            </a:fld>
            <a:endParaRPr lang="en-US" sz="1000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54038" y="1876425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20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200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440738" y="4867275"/>
            <a:ext cx="7874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ym typeface="+mn-lt"/>
              </a:rPr>
              <a:t>Start of </a:t>
            </a:r>
            <a:br>
              <a:rPr lang="en-US" altLang="en-US" sz="1000" b="0" dirty="0" smtClean="0">
                <a:sym typeface="+mn-lt"/>
              </a:rPr>
            </a:br>
            <a:r>
              <a:rPr lang="en-US" altLang="en-US" sz="1000" b="0" dirty="0" smtClean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1000" b="0"/>
              <a:pPr/>
              <a:t>1.10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009900" y="5602288"/>
            <a:ext cx="7096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1000" b="0"/>
              <a:pPr/>
              <a:t>19.7.</a:t>
            </a:fld>
            <a:r>
              <a:rPr lang="en-US" altLang="en-US" sz="1000" b="0" smtClean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1000" b="0"/>
              <a:pPr/>
              <a:t>23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722688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1000" b="0"/>
              <a:pPr/>
              <a:t>28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373438" y="6184900"/>
            <a:ext cx="6715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1000" b="0" smtClean="0"/>
              <a:pPr/>
              <a:t>24.7.</a:t>
            </a:fld>
            <a:r>
              <a:rPr lang="en-US" altLang="en-US" sz="1000" b="0" dirty="0" smtClean="0">
                <a:sym typeface="+mn-lt"/>
              </a:rPr>
              <a:t> </a:t>
            </a:r>
            <a:r>
              <a:rPr lang="en-US" altLang="en-US" sz="1000" b="0" smtClean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1000" b="0"/>
              <a:pPr/>
              <a:t>27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864225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1000" b="0"/>
              <a:pPr/>
              <a:t>25.8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54038" y="4176713"/>
            <a:ext cx="549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Meetings</a:t>
            </a:r>
            <a:endParaRPr lang="en-US" sz="1000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559425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0511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54038" y="3452813"/>
            <a:ext cx="795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evelopment</a:t>
            </a:r>
            <a:endParaRPr lang="en-US" sz="1000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54038" y="2919413"/>
            <a:ext cx="534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Learning</a:t>
            </a:r>
            <a:endParaRPr lang="en-US" sz="1000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827213" y="4867275"/>
            <a:ext cx="2460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1000" b="0"/>
              <a:pPr/>
              <a:t>3.7.</a:t>
            </a:fld>
            <a:endParaRPr lang="en-US" altLang="en-US" sz="1000" b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54039" y="2386013"/>
            <a:ext cx="1147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ocument creation</a:t>
            </a:r>
            <a:endParaRPr lang="en-US" sz="1000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62476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533900" y="5602288"/>
            <a:ext cx="8763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1000" b="0"/>
              <a:pPr/>
              <a:t>2.8.</a:t>
            </a:fld>
            <a:r>
              <a:rPr lang="en-US" altLang="en-US" sz="1000" b="0" smtClean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54038" y="4710113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Milestones</a:t>
            </a:r>
            <a:endParaRPr lang="en-US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4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echnologies used</a:t>
            </a:r>
            <a:endParaRPr lang="cs-CZ" sz="2800" dirty="0"/>
          </a:p>
        </p:txBody>
      </p:sp>
      <p:grpSp>
        <p:nvGrpSpPr>
          <p:cNvPr id="4" name="Group 3"/>
          <p:cNvGrpSpPr/>
          <p:nvPr/>
        </p:nvGrpSpPr>
        <p:grpSpPr>
          <a:xfrm>
            <a:off x="1063439" y="1340973"/>
            <a:ext cx="7779123" cy="5038543"/>
            <a:chOff x="1163096" y="1340973"/>
            <a:chExt cx="7779123" cy="5038543"/>
          </a:xfrm>
        </p:grpSpPr>
        <p:grpSp>
          <p:nvGrpSpPr>
            <p:cNvPr id="21" name="Group 20"/>
            <p:cNvGrpSpPr/>
            <p:nvPr/>
          </p:nvGrpSpPr>
          <p:grpSpPr>
            <a:xfrm>
              <a:off x="6853443" y="4290740"/>
              <a:ext cx="2088776" cy="2088776"/>
              <a:chOff x="3007659" y="4781183"/>
              <a:chExt cx="1394161" cy="1394161"/>
            </a:xfrm>
          </p:grpSpPr>
          <p:pic>
            <p:nvPicPr>
              <p:cNvPr id="22534" name="Picture 6" descr="Výsledek obrázku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45153" y="4901026"/>
                <a:ext cx="919174" cy="10213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" name="Oval 2"/>
              <p:cNvSpPr/>
              <p:nvPr/>
            </p:nvSpPr>
            <p:spPr>
              <a:xfrm>
                <a:off x="3007659" y="4781183"/>
                <a:ext cx="1394161" cy="1394161"/>
              </a:xfrm>
              <a:prstGeom prst="ellipse">
                <a:avLst/>
              </a:prstGeom>
              <a:noFill/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cs-CZ" sz="20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6853443" y="1340973"/>
              <a:ext cx="2088776" cy="2088776"/>
              <a:chOff x="5504180" y="4781183"/>
              <a:chExt cx="1394161" cy="1394161"/>
            </a:xfrm>
          </p:grpSpPr>
          <p:pic>
            <p:nvPicPr>
              <p:cNvPr id="22532" name="Picture 4" descr="Související obrázek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10741" y="5035129"/>
                <a:ext cx="1287600" cy="8862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Oval 7"/>
              <p:cNvSpPr/>
              <p:nvPr/>
            </p:nvSpPr>
            <p:spPr>
              <a:xfrm>
                <a:off x="5504180" y="4781183"/>
                <a:ext cx="1394161" cy="1394161"/>
              </a:xfrm>
              <a:prstGeom prst="ellipse">
                <a:avLst/>
              </a:prstGeom>
              <a:noFill/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cs-CZ" sz="20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4255920" y="2815857"/>
              <a:ext cx="2088776" cy="2088776"/>
              <a:chOff x="4255920" y="3322768"/>
              <a:chExt cx="1394161" cy="1394161"/>
            </a:xfrm>
          </p:grpSpPr>
          <p:pic>
            <p:nvPicPr>
              <p:cNvPr id="22530" name="Picture 2" descr="Výsledek obrázku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7781" y="3383110"/>
                <a:ext cx="1020403" cy="10864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Oval 9"/>
              <p:cNvSpPr/>
              <p:nvPr/>
            </p:nvSpPr>
            <p:spPr>
              <a:xfrm>
                <a:off x="4255920" y="3322768"/>
                <a:ext cx="1394161" cy="1394161"/>
              </a:xfrm>
              <a:prstGeom prst="ellipse">
                <a:avLst/>
              </a:prstGeom>
              <a:noFill/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cs-CZ" sz="2000" dirty="0" smtClean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6" name="Straight Arrow Connector 5"/>
            <p:cNvCxnSpPr>
              <a:stCxn id="10" idx="7"/>
              <a:endCxn id="8" idx="2"/>
            </p:cNvCxnSpPr>
            <p:nvPr/>
          </p:nvCxnSpPr>
          <p:spPr>
            <a:xfrm flipV="1">
              <a:off x="6038802" y="2385361"/>
              <a:ext cx="814641" cy="736390"/>
            </a:xfrm>
            <a:prstGeom prst="straightConnector1">
              <a:avLst/>
            </a:prstGeom>
            <a:ln w="38100">
              <a:solidFill>
                <a:schemeClr val="bg2"/>
              </a:solidFill>
              <a:prstDash val="sysDash"/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>
              <a:stCxn id="3" idx="0"/>
              <a:endCxn id="8" idx="4"/>
            </p:cNvCxnSpPr>
            <p:nvPr/>
          </p:nvCxnSpPr>
          <p:spPr>
            <a:xfrm flipV="1">
              <a:off x="7897831" y="3429749"/>
              <a:ext cx="0" cy="860991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>
              <a:stCxn id="10" idx="5"/>
            </p:cNvCxnSpPr>
            <p:nvPr/>
          </p:nvCxnSpPr>
          <p:spPr>
            <a:xfrm>
              <a:off x="6038802" y="4598739"/>
              <a:ext cx="814641" cy="796323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>
              <a:stCxn id="16" idx="6"/>
              <a:endCxn id="10" idx="2"/>
            </p:cNvCxnSpPr>
            <p:nvPr/>
          </p:nvCxnSpPr>
          <p:spPr>
            <a:xfrm>
              <a:off x="3251872" y="3860245"/>
              <a:ext cx="1004048" cy="0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stealth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 12"/>
            <p:cNvGrpSpPr/>
            <p:nvPr/>
          </p:nvGrpSpPr>
          <p:grpSpPr>
            <a:xfrm>
              <a:off x="1163096" y="2815857"/>
              <a:ext cx="2088776" cy="2088776"/>
              <a:chOff x="4255920" y="1527599"/>
              <a:chExt cx="1394161" cy="1394161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4255920" y="1527599"/>
                <a:ext cx="1394161" cy="1394161"/>
              </a:xfrm>
              <a:prstGeom prst="ellipse">
                <a:avLst/>
              </a:prstGeom>
              <a:noFill/>
              <a:ln w="381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cs-CZ" sz="2000" dirty="0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72966" y="1749419"/>
                <a:ext cx="756264" cy="680010"/>
              </a:xfrm>
              <a:prstGeom prst="rect">
                <a:avLst/>
              </a:prstGeom>
            </p:spPr>
          </p:pic>
          <p:sp>
            <p:nvSpPr>
              <p:cNvPr id="12" name="Rectangle 11"/>
              <p:cNvSpPr/>
              <p:nvPr/>
            </p:nvSpPr>
            <p:spPr>
              <a:xfrm>
                <a:off x="4394481" y="2371248"/>
                <a:ext cx="1117040" cy="340665"/>
              </a:xfrm>
              <a:prstGeom prst="rect">
                <a:avLst/>
              </a:prstGeom>
              <a:noFill/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r>
                  <a:rPr lang="cs-CZ" sz="2000" b="1" i="1" dirty="0" err="1" smtClean="0">
                    <a:solidFill>
                      <a:srgbClr val="53C1DE"/>
                    </a:solidFill>
                    <a:latin typeface="Arial" pitchFamily="34" charset="0"/>
                    <a:cs typeface="Arial" pitchFamily="34" charset="0"/>
                  </a:rPr>
                  <a:t>ReactJS</a:t>
                </a:r>
                <a:endParaRPr lang="cs-CZ" sz="2000" b="1" i="1" dirty="0" smtClean="0">
                  <a:solidFill>
                    <a:srgbClr val="53C1D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681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err="1" smtClean="0"/>
              <a:t>Domain</a:t>
            </a:r>
            <a:r>
              <a:rPr lang="cs-CZ" sz="2800" dirty="0" smtClean="0"/>
              <a:t> model</a:t>
            </a:r>
            <a:endParaRPr lang="cs-CZ" sz="2800" dirty="0"/>
          </a:p>
        </p:txBody>
      </p:sp>
      <p:pic>
        <p:nvPicPr>
          <p:cNvPr id="22" name="Picture 21" descr="C:\Users\Marek\EAR\Staffr\EAR_Staffr\docs\WIP\domainModel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22" y="1193816"/>
            <a:ext cx="5862955" cy="50399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9256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2&quot; g=&quot;E2&quot; b=&quot;2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EB44E16-2275-4E7C-B06C-8D2350F71F63}" vid="{A9435625-3589-4121-B861-43B772E945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3</TotalTime>
  <Words>69</Words>
  <Application>Microsoft Office PowerPoint</Application>
  <PresentationFormat>A4 Paper (210x297 mm)</PresentationFormat>
  <Paragraphs>56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Blank</vt:lpstr>
      <vt:lpstr>think-cell Slide</vt:lpstr>
      <vt:lpstr>Schedule</vt:lpstr>
      <vt:lpstr>Schedule</vt:lpstr>
      <vt:lpstr>Technologies used</vt:lpstr>
      <vt:lpstr>Domain model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zeles Marek</dc:creator>
  <cp:lastModifiedBy>Marek</cp:lastModifiedBy>
  <cp:revision>10</cp:revision>
  <dcterms:created xsi:type="dcterms:W3CDTF">2017-07-17T17:04:50Z</dcterms:created>
  <dcterms:modified xsi:type="dcterms:W3CDTF">2017-08-12T10:0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